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75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181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7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7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6673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041 – Spring Lift for Selecta Valve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9C01FF-25BE-47F0-85D0-D2EDA87276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Reduza os custos de manutenção e garanta a eficiência dos equipamento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pt-BR" altLang="fr-FR" dirty="0"/>
              <a:t>Novo coletor superior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42999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Durabilidade do selo de 6000h em vez de 3000h atualment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Desgaste reduzido da vedação do produt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Maior eficiência reduzindo as paradas de manutenção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171623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O novo design do coletor superior permite uma redução no intervalo de tempo de manutenção e menos tempo de inatividade da máquina; a durabilidade das juntas é aumentada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As esferas são lubrificadas por um bico de lubrificação para otimizar sua operação e prolongar sua vida útil.</a:t>
            </a:r>
            <a:endParaRPr lang="en-US" sz="1200" dirty="0">
              <a:solidFill>
                <a:srgbClr val="000000"/>
              </a:solidFill>
            </a:endParaRP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B535E29-2478-4CF9-9287-2F6A16D4515A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324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, Eficiência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Enchedoras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Europa WM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SF017</a:t>
            </a:r>
          </a:p>
        </p:txBody>
      </p:sp>
      <p:pic>
        <p:nvPicPr>
          <p:cNvPr id="19" name="Picture 18" descr="sf017 assemply render (1)">
            <a:extLst>
              <a:ext uri="{FF2B5EF4-FFF2-40B4-BE49-F238E27FC236}">
                <a16:creationId xmlns:a16="http://schemas.microsoft.com/office/drawing/2014/main" id="{7965273E-43CC-4048-A509-CD09E303B1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68162" y="3594230"/>
            <a:ext cx="1055824" cy="20691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4</TotalTime>
  <Words>104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Reduza os custos de manutenção e garanta a eficiência dos equipamen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8</cp:revision>
  <dcterms:created xsi:type="dcterms:W3CDTF">2018-02-10T17:04:39Z</dcterms:created>
  <dcterms:modified xsi:type="dcterms:W3CDTF">2021-03-07T10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